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1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4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82" r:id="rId1"/>
    <p:sldMasterId id="2147483697" r:id="rId2"/>
  </p:sldMasterIdLst>
  <p:notesMasterIdLst>
    <p:notesMasterId r:id="rId5"/>
  </p:notesMasterIdLst>
  <p:handoutMasterIdLst>
    <p:handoutMasterId r:id="rId6"/>
  </p:handoutMasterIdLst>
  <p:sldIdLst>
    <p:sldId id="374" r:id="rId3"/>
    <p:sldId id="375" r:id="rId4"/>
  </p:sldIdLst>
  <p:sldSz cx="9144000" cy="6858000" type="screen4x3"/>
  <p:notesSz cx="6797675" cy="9872663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</p:embeddedFont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9741FDE-856A-41EC-8B34-9DD8F99AA23F}">
          <p14:sldIdLst/>
        </p14:section>
        <p14:section name="Untitled Section" id="{1C6ED0E8-620E-4B3C-B2F2-BAFB104F1D65}">
          <p14:sldIdLst>
            <p14:sldId id="374"/>
            <p14:sldId id="37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8000"/>
    <a:srgbClr val="2E3092"/>
    <a:srgbClr val="009EE0"/>
    <a:srgbClr val="E75113"/>
    <a:srgbClr val="25AE93"/>
    <a:srgbClr val="AC1159"/>
    <a:srgbClr val="97BF0D"/>
    <a:srgbClr val="4BC7FF"/>
    <a:srgbClr val="2494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282" autoAdjust="0"/>
  </p:normalViewPr>
  <p:slideViewPr>
    <p:cSldViewPr showGuides="1">
      <p:cViewPr>
        <p:scale>
          <a:sx n="62" d="100"/>
          <a:sy n="62" d="100"/>
        </p:scale>
        <p:origin x="-3060" y="-912"/>
      </p:cViewPr>
      <p:guideLst>
        <p:guide orient="horz" pos="3974"/>
        <p:guide orient="horz" pos="935"/>
        <p:guide pos="2880"/>
        <p:guide pos="295"/>
        <p:guide pos="5465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3274" y="-91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font" Target="fonts/font1.fntdata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openxmlformats.org/officeDocument/2006/relationships/font" Target="fonts/font4.fntdata"/><Relationship Id="rId4" Type="http://schemas.openxmlformats.org/officeDocument/2006/relationships/slide" Target="slides/slide2.xml"/><Relationship Id="rId9" Type="http://schemas.openxmlformats.org/officeDocument/2006/relationships/font" Target="fonts/font3.fntdata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4B7C84-7F0F-42F5-8657-23C35169CAC2}" type="datetimeFigureOut">
              <a:rPr lang="en-US" smtClean="0"/>
              <a:t>1/1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072EE1-0DFC-40C5-9D78-FDC5C9DF65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459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309B18-EABE-4324-9FA4-8EC30EF06D31}" type="datetimeFigureOut">
              <a:rPr lang="sv-SE" smtClean="0"/>
              <a:t>2015-01-1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48811F-6F35-4246-8D1A-EA18817CE4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98511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484785"/>
            <a:ext cx="8218488" cy="4680520"/>
          </a:xfrm>
        </p:spPr>
        <p:txBody>
          <a:bodyPr/>
          <a:lstStyle>
            <a:lvl1pPr marL="179388" indent="-179388">
              <a:buFont typeface="Wingdings" charset="2"/>
              <a:buChar char="§"/>
              <a:defRPr/>
            </a:lvl1pPr>
            <a:lvl2pPr marL="358775" indent="-179388">
              <a:buFont typeface="Wingdings" charset="2"/>
              <a:buChar char="§"/>
              <a:defRPr/>
            </a:lvl2pPr>
            <a:lvl3pPr marL="538163" indent="-179388">
              <a:buFont typeface="Wingdings" charset="2"/>
              <a:buChar char="§"/>
              <a:defRPr/>
            </a:lvl3pPr>
            <a:lvl4pPr marL="823912" indent="-285750">
              <a:buSzPct val="85000"/>
              <a:buFont typeface="Wingdings" charset="2"/>
              <a:buChar char="§"/>
              <a:defRPr/>
            </a:lvl4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3986064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0" name="Platshållare för bild 8"/>
          <p:cNvSpPr>
            <a:spLocks noGrp="1"/>
          </p:cNvSpPr>
          <p:nvPr>
            <p:ph type="pic" sz="quarter" idx="17"/>
          </p:nvPr>
        </p:nvSpPr>
        <p:spPr>
          <a:xfrm>
            <a:off x="457200" y="1484313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3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5" name="Platshållare för bild 8"/>
          <p:cNvSpPr>
            <a:spLocks noGrp="1"/>
          </p:cNvSpPr>
          <p:nvPr>
            <p:ph type="pic" sz="quarter" idx="18"/>
          </p:nvPr>
        </p:nvSpPr>
        <p:spPr>
          <a:xfrm>
            <a:off x="4644008" y="3861048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009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blocks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/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1" name="Platshållare för bild 8"/>
          <p:cNvSpPr>
            <a:spLocks noGrp="1"/>
          </p:cNvSpPr>
          <p:nvPr>
            <p:ph type="pic" sz="quarter" idx="16"/>
          </p:nvPr>
        </p:nvSpPr>
        <p:spPr>
          <a:xfrm>
            <a:off x="4644008" y="3861048"/>
            <a:ext cx="4032448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2" name="Platshållare för innehåll 11"/>
          <p:cNvSpPr>
            <a:spLocks noGrp="1"/>
          </p:cNvSpPr>
          <p:nvPr>
            <p:ph sz="quarter" idx="17" hasCustomPrompt="1"/>
          </p:nvPr>
        </p:nvSpPr>
        <p:spPr>
          <a:xfrm>
            <a:off x="457200" y="1484313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7" name="Platshållare för innehåll 11"/>
          <p:cNvSpPr>
            <a:spLocks noGrp="1"/>
          </p:cNvSpPr>
          <p:nvPr>
            <p:ph sz="quarter" idx="18" hasCustomPrompt="1"/>
          </p:nvPr>
        </p:nvSpPr>
        <p:spPr>
          <a:xfrm>
            <a:off x="4644008" y="1484784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977634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74627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T ICT Labs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3" descr="eit_ict_PPT_Fortlaufende-Charts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3238" y="260353"/>
            <a:ext cx="8458200" cy="1022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5613" y="1376365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3241" y="5803901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pic>
        <p:nvPicPr>
          <p:cNvPr id="7" name="Bild 4" descr="eit_ict_PPT_Start_Charts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-12699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948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50" y="0"/>
            <a:ext cx="9139099" cy="42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br>
              <a:rPr lang="en-GB" noProof="1" smtClean="0"/>
            </a:br>
            <a:r>
              <a:rPr lang="en-GB" noProof="1" smtClean="0"/>
              <a:t>and author</a:t>
            </a:r>
            <a:endParaRPr lang="en-GB" noProof="1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879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endParaRPr lang="en-GB" noProof="1"/>
          </a:p>
        </p:txBody>
      </p:sp>
      <p:sp>
        <p:nvSpPr>
          <p:cNvPr id="7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2600"/>
            <a:ext cx="9144000" cy="327764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82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"/>
          <a:stretch/>
        </p:blipFill>
        <p:spPr>
          <a:xfrm>
            <a:off x="467543" y="601898"/>
            <a:ext cx="8208145" cy="5563406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83568" y="2030983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here to add chapter titl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83568" y="3908648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pic>
        <p:nvPicPr>
          <p:cNvPr id="6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8163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9773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1"/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1484313"/>
            <a:ext cx="4027488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8919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54087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003300" indent="-285750">
              <a:buFont typeface="Wingdings" charset="2"/>
              <a:buChar char="§"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err="1" smtClean="0"/>
              <a:t>Clic</a:t>
            </a:r>
            <a:r>
              <a:rPr lang="en-GB" dirty="0" smtClean="0"/>
              <a:t>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4"/>
            <a:r>
              <a:rPr lang="en-GB" dirty="0" smtClean="0"/>
              <a:t>Level five</a:t>
            </a:r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25209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18101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644008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874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bove, image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3861048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141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bove,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3861048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8785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pic>
        <p:nvPicPr>
          <p:cNvPr id="15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160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013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823912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003300" indent="-28575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K:\kunder\2012\EIT ITC Labs\Texter_underlag\Links Kopie\EIT_Digits_AS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890"/>
          <a:stretch/>
        </p:blipFill>
        <p:spPr bwMode="auto">
          <a:xfrm>
            <a:off x="1" y="5072062"/>
            <a:ext cx="9144000" cy="178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247951F-669F-478B-8968-4F2D988C8BCD}" type="datetime1">
              <a:rPr lang="en-GB" altLang="zh-TW" noProof="0" smtClean="0"/>
              <a:t>16/01/2015</a:t>
            </a:fld>
            <a:endParaRPr lang="en-GB" altLang="zh-TW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04235"/>
            <a:ext cx="2895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altLang="zh-TW" noProof="0" smtClean="0"/>
              <a:t>EIT ICT Labs</a:t>
            </a:r>
            <a:endParaRPr lang="en-GB" altLang="zh-TW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89AAA73-7443-4391-A20F-5087185DD8FE}" type="slidenum">
              <a:rPr lang="en-GB" altLang="zh-TW" noProof="0" smtClean="0"/>
              <a:pPr/>
              <a:t>‹#›</a:t>
            </a:fld>
            <a:endParaRPr lang="en-GB" altLang="zh-TW" noProof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9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61938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lang="sv-SE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2E309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4500" b="1" dirty="0" smtClean="0"/>
              <a:t>Description: </a:t>
            </a:r>
          </a:p>
          <a:p>
            <a:pPr marL="0" indent="0">
              <a:buNone/>
            </a:pPr>
            <a:r>
              <a:rPr lang="en-US" sz="4500" dirty="0" smtClean="0"/>
              <a:t>Short description of the idea (elevator pitch)</a:t>
            </a:r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r>
              <a:rPr lang="en-US" sz="4500" b="1" dirty="0" smtClean="0"/>
              <a:t>Business Impact: </a:t>
            </a:r>
          </a:p>
          <a:p>
            <a:pPr marL="0" indent="0">
              <a:buNone/>
            </a:pPr>
            <a:r>
              <a:rPr lang="en-US" sz="4500" dirty="0" smtClean="0"/>
              <a:t>Why this is important for European Industry? What </a:t>
            </a:r>
            <a:r>
              <a:rPr lang="en-US" sz="4500" dirty="0"/>
              <a:t>b</a:t>
            </a:r>
            <a:r>
              <a:rPr lang="en-US" sz="4500" dirty="0" smtClean="0"/>
              <a:t>usiness impact is expected?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1/2</a:t>
            </a:r>
            <a:r>
              <a:rPr lang="en-US" dirty="0" smtClean="0"/>
              <a:t>) </a:t>
            </a:r>
            <a:r>
              <a:rPr lang="en-US" sz="2000" dirty="0" smtClean="0"/>
              <a:t>2016 </a:t>
            </a:r>
            <a:r>
              <a:rPr lang="en-US" sz="2000" dirty="0" smtClean="0"/>
              <a:t>Activity Proposal </a:t>
            </a:r>
            <a:r>
              <a:rPr lang="en-US" sz="2000" dirty="0" smtClean="0"/>
              <a:t>Idea</a:t>
            </a:r>
            <a:br>
              <a:rPr lang="en-US" sz="2000" dirty="0" smtClean="0"/>
            </a:b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818352" y="116632"/>
            <a:ext cx="2304256" cy="17550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rgbClr val="FF0000"/>
                </a:solidFill>
              </a:rPr>
              <a:t>Budapest 1</a:t>
            </a:r>
            <a:r>
              <a:rPr lang="en-US" baseline="30000" dirty="0" smtClean="0">
                <a:solidFill>
                  <a:srgbClr val="FF0000"/>
                </a:solidFill>
              </a:rPr>
              <a:t>th</a:t>
            </a:r>
            <a:r>
              <a:rPr lang="en-US" dirty="0" smtClean="0">
                <a:solidFill>
                  <a:srgbClr val="FF0000"/>
                </a:solidFill>
              </a:rPr>
              <a:t> April</a:t>
            </a:r>
            <a:r>
              <a:rPr lang="en-US" dirty="0"/>
              <a:t/>
            </a:r>
            <a:br>
              <a:rPr lang="en-US" dirty="0"/>
            </a:br>
            <a:r>
              <a:rPr lang="en-US" b="1" dirty="0" smtClean="0">
                <a:solidFill>
                  <a:schemeClr val="tx1"/>
                </a:solidFill>
              </a:rPr>
              <a:t>Proposer</a:t>
            </a:r>
            <a:r>
              <a:rPr lang="en-US" b="1" dirty="0">
                <a:solidFill>
                  <a:schemeClr val="tx1"/>
                </a:solidFill>
              </a:rPr>
              <a:t>: </a:t>
            </a:r>
          </a:p>
          <a:p>
            <a:r>
              <a:rPr lang="en-US" dirty="0" err="1">
                <a:solidFill>
                  <a:schemeClr val="tx1"/>
                </a:solidFill>
              </a:rPr>
              <a:t>First_Name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Last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Organisation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803839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4400" b="1" dirty="0" smtClean="0"/>
              <a:t>Industry </a:t>
            </a:r>
            <a:r>
              <a:rPr lang="en-US" sz="4400" b="1" dirty="0"/>
              <a:t>Interest: </a:t>
            </a:r>
          </a:p>
          <a:p>
            <a:pPr marL="0" indent="0">
              <a:buNone/>
            </a:pPr>
            <a:r>
              <a:rPr lang="en-US" sz="4500" dirty="0" smtClean="0"/>
              <a:t>List the Industrial Organizations interested in this idea in EIT ICT Labs context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500" b="1" dirty="0" smtClean="0"/>
          </a:p>
          <a:p>
            <a:pPr marL="0" indent="0">
              <a:buNone/>
            </a:pPr>
            <a:r>
              <a:rPr lang="en-US" sz="4500" b="1" dirty="0" smtClean="0"/>
              <a:t>Competences </a:t>
            </a:r>
            <a:r>
              <a:rPr lang="en-US" sz="4500" b="1" dirty="0"/>
              <a:t>Required</a:t>
            </a:r>
          </a:p>
          <a:p>
            <a:pPr marL="0" indent="0">
              <a:buNone/>
            </a:pPr>
            <a:r>
              <a:rPr lang="en-US" sz="4000" dirty="0" smtClean="0"/>
              <a:t>List competences, infrastructures, platforms, technology, environment, user-groups etc. required to implement the ide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2/2)</a:t>
            </a:r>
            <a:br>
              <a:rPr lang="en-US" dirty="0" smtClean="0"/>
            </a:br>
            <a:r>
              <a:rPr lang="en-US" sz="2000" dirty="0" smtClean="0"/>
              <a:t>2016 </a:t>
            </a:r>
            <a:r>
              <a:rPr lang="en-US" sz="2000" dirty="0"/>
              <a:t>Activity Proposal Ide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229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L9xylNL0m0IJ7Xo6Ij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heme/theme1.xml><?xml version="1.0" encoding="utf-8"?>
<a:theme xmlns:a="http://schemas.openxmlformats.org/drawingml/2006/main" name="EIT_ICT_Labs_template-1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EIT_ICT_Labs_presentation_template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IT_ICT_Labs_template-1</Template>
  <TotalTime>19327</TotalTime>
  <Words>80</Words>
  <Application>Microsoft Office PowerPoint</Application>
  <PresentationFormat>On-screen Show (4:3)</PresentationFormat>
  <Paragraphs>3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Wingdings</vt:lpstr>
      <vt:lpstr>EIT_ICT_Labs_template-1</vt:lpstr>
      <vt:lpstr>1_EIT_ICT_Labs_presentation_template</vt:lpstr>
      <vt:lpstr>think-cell Slide</vt:lpstr>
      <vt:lpstr>Idea_Title (1/2) 2016 Activity Proposal Idea </vt:lpstr>
      <vt:lpstr>Idea_Title (2/2) 2016 Activity Proposal Idea</vt:lpstr>
    </vt:vector>
  </TitlesOfParts>
  <Company>VT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here to add title</dc:title>
  <dc:creator>Huomo Tua</dc:creator>
  <cp:lastModifiedBy>Huomo Tua</cp:lastModifiedBy>
  <cp:revision>237</cp:revision>
  <cp:lastPrinted>2014-01-13T12:13:28Z</cp:lastPrinted>
  <dcterms:created xsi:type="dcterms:W3CDTF">2013-09-16T06:17:10Z</dcterms:created>
  <dcterms:modified xsi:type="dcterms:W3CDTF">2015-01-17T12:3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786957171</vt:i4>
  </property>
  <property fmtid="{D5CDD505-2E9C-101B-9397-08002B2CF9AE}" pid="3" name="_NewReviewCycle">
    <vt:lpwstr/>
  </property>
  <property fmtid="{D5CDD505-2E9C-101B-9397-08002B2CF9AE}" pid="4" name="_EmailSubject">
    <vt:lpwstr>Budapest Future Cloud workshop</vt:lpwstr>
  </property>
  <property fmtid="{D5CDD505-2E9C-101B-9397-08002B2CF9AE}" pid="5" name="_AuthorEmail">
    <vt:lpwstr>Tua.Huomo@vtt.fi</vt:lpwstr>
  </property>
  <property fmtid="{D5CDD505-2E9C-101B-9397-08002B2CF9AE}" pid="6" name="_AuthorEmailDisplayName">
    <vt:lpwstr>Huomo Tua</vt:lpwstr>
  </property>
</Properties>
</file>